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4" r:id="rId1"/>
  </p:sldMasterIdLst>
  <p:sldIdLst>
    <p:sldId id="428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4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101" d="100"/>
          <a:sy n="101" d="100"/>
        </p:scale>
        <p:origin x="1308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2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9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0794029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34875075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5079600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3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866737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8284789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962278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50045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735616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5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58706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3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 Novem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B4A979ED-8DF3-4D85-BCE7-CE502DA9A46D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428701426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547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547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063598"/>
              </p:ext>
            </p:extLst>
          </p:nvPr>
        </p:nvGraphicFramePr>
        <p:xfrm>
          <a:off x="652463" y="1743075"/>
          <a:ext cx="7996237" cy="3989878"/>
        </p:xfrm>
        <a:graphic>
          <a:graphicData uri="http://schemas.openxmlformats.org/drawingml/2006/table">
            <a:tbl>
              <a:tblPr/>
              <a:tblGrid>
                <a:gridCol w="38750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4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66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3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</a:rPr>
                        <a:t>NUTZEN UND VORTEILE</a:t>
                      </a:r>
                      <a:endParaRPr kumimoji="0" lang="de-DE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/>
                        <a:cs typeface="ＭＳ Ｐゴシック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ESCHREIBUNG</a:t>
                      </a:r>
                      <a:endParaRPr kumimoji="0" lang="de-DE" altLang="de-DE" sz="14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038">
                <a:tc>
                  <a:txBody>
                    <a:bodyPr/>
                    <a:lstStyle/>
                    <a:p>
                      <a:pPr marL="182563" marR="0" lvl="0" indent="-1825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Wiederverwendung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des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laschenspülwassers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ls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rauchwass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is zu 50% des Spülmittelverbrauchs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82563" marR="0" lvl="0" indent="-1825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ammel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des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Wassers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us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em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laschenspül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in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inem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igen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Tank</a:t>
                      </a:r>
                    </a:p>
                    <a:p>
                      <a:pPr marL="182563" marR="0" lvl="0" indent="-1825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82563" marR="0" lvl="0" indent="-1825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0" lang="de-DE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61925" marR="0" lvl="1" indent="-1619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5413" marR="0" lvl="0" indent="-1254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</a:pPr>
                      <a:endParaRPr kumimoji="0" lang="fr-FR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ie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Absich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ahint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is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die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Möglichkei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, das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im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Flaschenrins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verwendet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Wass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wiederzuverwend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,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anstat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es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zu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entsorg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as so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gewonnen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Wass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kan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als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Brauchwass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(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z.B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.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zum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Reinig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Maschin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)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verwende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,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od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in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Aktivkohleanlag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aufgearbeite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werd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. Es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arf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nich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als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Prozesswass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verwende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werd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,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da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das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zurückgewonnen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Wasser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Spuren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von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Peressigsäure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(PAA)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enthält</a:t>
                      </a:r>
                      <a:endParaRPr kumimoji="0" lang="en-US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0" lang="en-US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182563" marR="0" lvl="0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/>
                      </a:pPr>
                      <a:endParaRPr kumimoji="0" lang="en-US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549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400" noProof="1"/>
              <a:t>Verringert den Prozesswasserverbrauch durch die Wiederverwendung des Flaschenspülabwassers</a:t>
            </a:r>
          </a:p>
        </p:txBody>
      </p:sp>
      <p:sp>
        <p:nvSpPr>
          <p:cNvPr id="10549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7445" y="1400420"/>
            <a:ext cx="7997825" cy="277812"/>
          </a:xfrm>
        </p:spPr>
        <p:txBody>
          <a:bodyPr>
            <a:spAutoFit/>
          </a:bodyPr>
          <a:lstStyle/>
          <a:p>
            <a:r>
              <a:rPr lang="fr-FR" noProof="1"/>
              <a:t>Rückgewinnungssystem für Spülwasser</a:t>
            </a:r>
            <a:endParaRPr lang="fr-FR" sz="1800" noProof="1"/>
          </a:p>
        </p:txBody>
      </p:sp>
      <p:sp>
        <p:nvSpPr>
          <p:cNvPr id="105494" name="Text Placeholder 2"/>
          <p:cNvSpPr txBox="1">
            <a:spLocks/>
          </p:cNvSpPr>
          <p:nvPr/>
        </p:nvSpPr>
        <p:spPr bwMode="auto">
          <a:xfrm>
            <a:off x="652463" y="5862638"/>
            <a:ext cx="7978775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vl="0" fontAlgn="base">
              <a:spcBef>
                <a:spcPct val="20000"/>
              </a:spcBef>
              <a:spcAft>
                <a:spcPct val="0"/>
              </a:spcAft>
            </a:pP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Nutzen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: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Kostenoptimierung</a:t>
            </a:r>
            <a:r>
              <a:rPr lang="fr-FR" sz="800" dirty="0">
                <a:solidFill>
                  <a:srgbClr val="000000"/>
                </a:solidFill>
                <a:latin typeface="Arial" charset="0"/>
              </a:rPr>
              <a:t>, </a:t>
            </a:r>
            <a:r>
              <a:rPr lang="fr-FR" sz="800" dirty="0" err="1">
                <a:solidFill>
                  <a:srgbClr val="000000"/>
                </a:solidFill>
                <a:latin typeface="Arial" charset="0"/>
              </a:rPr>
              <a:t>Nachhaltigkeit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usstattung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: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septische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bfüllanlage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(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FMa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Katalog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-Code: SP008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0" cy="1587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549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60032" y="4293096"/>
            <a:ext cx="3598862" cy="1255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hteck 11">
            <a:extLst>
              <a:ext uri="{FF2B5EF4-FFF2-40B4-BE49-F238E27FC236}">
                <a16:creationId xmlns:a16="http://schemas.microsoft.com/office/drawing/2014/main" id="{7B47A5F8-6C6D-43F9-8DC0-682AD11089BC}"/>
              </a:ext>
            </a:extLst>
          </p:cNvPr>
          <p:cNvSpPr/>
          <p:nvPr/>
        </p:nvSpPr>
        <p:spPr>
          <a:xfrm>
            <a:off x="4761070" y="1743074"/>
            <a:ext cx="3887630" cy="389781"/>
          </a:xfrm>
          <a:prstGeom prst="rect">
            <a:avLst/>
          </a:prstGeom>
          <a:solidFill>
            <a:srgbClr val="E64B00"/>
          </a:solidFill>
          <a:ln w="12700" cap="flat" cmpd="sng" algn="ctr">
            <a:solidFill>
              <a:srgbClr val="E64B00"/>
            </a:solidFill>
            <a:prstDash val="solid"/>
          </a:ln>
          <a:effectLst/>
        </p:spPr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CHREIBUNG</a:t>
            </a: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375069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62</TotalTime>
  <Words>114</Words>
  <Application>Microsoft Office PowerPoint</Application>
  <PresentationFormat>Affichage à l'écran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ＭＳ Ｐゴシック</vt:lpstr>
      <vt:lpstr>Arial</vt:lpstr>
      <vt:lpstr>Wingdings</vt:lpstr>
      <vt:lpstr>LIOMT</vt:lpstr>
      <vt:lpstr>think-cell Folie</vt:lpstr>
      <vt:lpstr>Verringert den Prozesswasserverbrauch durch die Wiederverwendung des Flaschenspülabwasser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tain product quality and decrease bottle weight</dc:title>
  <dc:creator>Gouriou, Lydie</dc:creator>
  <cp:lastModifiedBy>Sorega, Dan</cp:lastModifiedBy>
  <cp:revision>17</cp:revision>
  <dcterms:created xsi:type="dcterms:W3CDTF">2014-06-10T08:34:36Z</dcterms:created>
  <dcterms:modified xsi:type="dcterms:W3CDTF">2019-11-07T14:3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1-05T14:44:53.4998313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